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0" r:id="rId4"/>
  </p:sldMasterIdLst>
  <p:notesMasterIdLst>
    <p:notesMasterId r:id="rId10"/>
  </p:notesMasterIdLst>
  <p:handoutMasterIdLst>
    <p:handoutMasterId r:id="rId11"/>
  </p:handoutMasterIdLst>
  <p:sldIdLst>
    <p:sldId id="526" r:id="rId5"/>
    <p:sldId id="588" r:id="rId6"/>
    <p:sldId id="591" r:id="rId7"/>
    <p:sldId id="590" r:id="rId8"/>
    <p:sldId id="592" r:id="rId9"/>
  </p:sldIdLst>
  <p:sldSz cx="9144000" cy="6858000" type="screen4x3"/>
  <p:notesSz cx="6858000" cy="919956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98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FCFCF"/>
    <a:srgbClr val="F2F2F2"/>
    <a:srgbClr val="E4E4E4"/>
    <a:srgbClr val="00A1E4"/>
    <a:srgbClr val="FF9900"/>
    <a:srgbClr val="FF6600"/>
    <a:srgbClr val="FFCC99"/>
    <a:srgbClr val="993300"/>
    <a:srgbClr val="98321F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28" autoAdjust="0"/>
    <p:restoredTop sz="98934" autoAdjust="0"/>
  </p:normalViewPr>
  <p:slideViewPr>
    <p:cSldViewPr snapToGrid="0">
      <p:cViewPr varScale="1">
        <p:scale>
          <a:sx n="91" d="100"/>
          <a:sy n="91" d="100"/>
        </p:scale>
        <p:origin x="-1386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-2814" y="-78"/>
      </p:cViewPr>
      <p:guideLst>
        <p:guide orient="horz" pos="289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0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0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9317A372-02D7-4585-ACB4-C91972A011E1}" type="datetimeFigureOut">
              <a:rPr lang="en-US"/>
              <a:pPr>
                <a:defRPr/>
              </a:pPr>
              <a:t>8/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37600"/>
            <a:ext cx="2971800" cy="460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737600"/>
            <a:ext cx="2971800" cy="460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0522C8C2-AA78-40AB-B039-5257A85445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85107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30300" y="690563"/>
            <a:ext cx="4597400" cy="34496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70388"/>
            <a:ext cx="5486400" cy="413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37600"/>
            <a:ext cx="29718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737600"/>
            <a:ext cx="29718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484DAEBA-1155-4086-B17E-E601B2620D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9052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50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50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50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50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50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84DAEBA-1155-4086-B17E-E601B2620D2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24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84DAEBA-1155-4086-B17E-E601B2620D29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614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84DAEBA-1155-4086-B17E-E601B2620D29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3419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84DAEBA-1155-4086-B17E-E601B2620D2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6280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84DAEBA-1155-4086-B17E-E601B2620D29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241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5.bin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6.bin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1.emf"/><Relationship Id="rId4" Type="http://schemas.openxmlformats.org/officeDocument/2006/relationships/tags" Target="../tags/tag29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9954434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54211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35865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92007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744249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7315544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7508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627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45481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theme" Target="../theme/theme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18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94822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/>
          <p:cNvCxnSpPr/>
          <p:nvPr/>
        </p:nvCxnSpPr>
        <p:spPr>
          <a:xfrm>
            <a:off x="0" y="4416357"/>
            <a:ext cx="9144000" cy="1588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0" y="2959926"/>
            <a:ext cx="8590208" cy="1098157"/>
          </a:xfrm>
        </p:spPr>
        <p:txBody>
          <a:bodyPr>
            <a:normAutofit/>
          </a:bodyPr>
          <a:lstStyle/>
          <a:p>
            <a:pPr algn="ctr"/>
            <a:r>
              <a:rPr lang="en-IN" sz="3600" dirty="0" smtClean="0"/>
              <a:t>Ideas to address the quality concerns</a:t>
            </a:r>
            <a:endParaRPr lang="en-IN" sz="3600" dirty="0"/>
          </a:p>
        </p:txBody>
      </p:sp>
    </p:spTree>
    <p:extLst>
      <p:ext uri="{BB962C8B-B14F-4D97-AF65-F5344CB8AC3E}">
        <p14:creationId xmlns:p14="http://schemas.microsoft.com/office/powerpoint/2010/main" val="120425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elf-Learning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03797"/>
            <a:ext cx="8291692" cy="4734719"/>
          </a:xfrm>
        </p:spPr>
        <p:txBody>
          <a:bodyPr/>
          <a:lstStyle/>
          <a:p>
            <a:r>
              <a:rPr lang="en-US" dirty="0" smtClean="0"/>
              <a:t>For </a:t>
            </a:r>
            <a:r>
              <a:rPr lang="en-US" dirty="0"/>
              <a:t>few concepts participants will code on their own without the support of online demo /demo codes and learn from the mistakes</a:t>
            </a:r>
            <a:r>
              <a:rPr lang="en-US" dirty="0" smtClean="0"/>
              <a:t>.</a:t>
            </a:r>
            <a:endParaRPr lang="en-US" dirty="0"/>
          </a:p>
          <a:p>
            <a:r>
              <a:rPr lang="en-US" dirty="0"/>
              <a:t>Give time to read  on some small </a:t>
            </a:r>
            <a:r>
              <a:rPr lang="en-US" dirty="0" smtClean="0"/>
              <a:t>topics in class room </a:t>
            </a:r>
            <a:r>
              <a:rPr lang="en-US" dirty="0"/>
              <a:t>and </a:t>
            </a:r>
            <a:r>
              <a:rPr lang="en-US" dirty="0" smtClean="0"/>
              <a:t>make them to present</a:t>
            </a:r>
            <a:endParaRPr lang="en-US" dirty="0"/>
          </a:p>
          <a:p>
            <a:r>
              <a:rPr lang="en-US" dirty="0"/>
              <a:t>Share the skill soft titles for additional reading</a:t>
            </a:r>
          </a:p>
          <a:p>
            <a:pPr algn="just"/>
            <a:endParaRPr lang="en-US" dirty="0" smtClean="0"/>
          </a:p>
          <a:p>
            <a:pPr marL="0" indent="0" algn="just">
              <a:buNone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ilot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tches- Regular June Batches at Bangalore, Mumbai &amp; Pune</a:t>
            </a:r>
          </a:p>
        </p:txBody>
      </p:sp>
    </p:spTree>
    <p:extLst>
      <p:ext uri="{BB962C8B-B14F-4D97-AF65-F5344CB8AC3E}">
        <p14:creationId xmlns:p14="http://schemas.microsoft.com/office/powerpoint/2010/main" val="2497529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Knowledge </a:t>
            </a:r>
            <a:r>
              <a:rPr lang="en-US" dirty="0" smtClean="0"/>
              <a:t>Reten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03797"/>
            <a:ext cx="8291692" cy="4734719"/>
          </a:xfrm>
        </p:spPr>
        <p:txBody>
          <a:bodyPr/>
          <a:lstStyle/>
          <a:p>
            <a:pPr lvl="0"/>
            <a:r>
              <a:rPr lang="en-US" dirty="0" smtClean="0"/>
              <a:t>Begin </a:t>
            </a:r>
            <a:r>
              <a:rPr lang="en-US" dirty="0"/>
              <a:t>the day with </a:t>
            </a:r>
            <a:r>
              <a:rPr lang="en-US" dirty="0" err="1"/>
              <a:t>Kahoot</a:t>
            </a:r>
            <a:r>
              <a:rPr lang="en-US" dirty="0"/>
              <a:t> quiz (Gamification) </a:t>
            </a:r>
            <a:endParaRPr lang="en-US" dirty="0" smtClean="0"/>
          </a:p>
          <a:p>
            <a:pPr lvl="1"/>
            <a:r>
              <a:rPr lang="en-US" dirty="0" smtClean="0"/>
              <a:t>Implemented in module 2 – Regular April batch at Mumbai</a:t>
            </a:r>
            <a:endParaRPr lang="en-US" dirty="0"/>
          </a:p>
          <a:p>
            <a:pPr lvl="0"/>
            <a:r>
              <a:rPr lang="en-US" dirty="0"/>
              <a:t>Conduct intermediate class tests (4 class tests planned for core java &amp; 1 class test for module 3 and </a:t>
            </a:r>
            <a:r>
              <a:rPr lang="en-US" dirty="0" smtClean="0"/>
              <a:t>4)</a:t>
            </a:r>
          </a:p>
          <a:p>
            <a:pPr lvl="1"/>
            <a:r>
              <a:rPr lang="en-US" dirty="0" smtClean="0"/>
              <a:t>This </a:t>
            </a:r>
            <a:r>
              <a:rPr lang="en-US" dirty="0"/>
              <a:t>is implemented </a:t>
            </a:r>
            <a:r>
              <a:rPr lang="en-US" dirty="0" smtClean="0"/>
              <a:t>in Regular May batches at Chennai &amp; Hyderabad and June fast track batch at Bangalore  </a:t>
            </a:r>
            <a:endParaRPr lang="en-US" dirty="0"/>
          </a:p>
          <a:p>
            <a:pPr lvl="0"/>
            <a:r>
              <a:rPr lang="en-US" dirty="0"/>
              <a:t>Trainees should prepare MCQ and conduct quiz for FAQ questions shared with them (Gamification)</a:t>
            </a:r>
          </a:p>
          <a:p>
            <a:pPr lvl="0"/>
            <a:r>
              <a:rPr lang="en-US" dirty="0"/>
              <a:t>Trainers to create &amp; share video recordings ( 5 to 6 min – to explain concepts and how it is implemented in project(Micro Learning)</a:t>
            </a:r>
          </a:p>
          <a:p>
            <a:r>
              <a:rPr lang="en-US" dirty="0"/>
              <a:t> </a:t>
            </a:r>
          </a:p>
          <a:p>
            <a:pPr marL="0" indent="0" algn="just">
              <a:buNone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ilot Batches-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gular June Batches at Bangalore, Mumbai &amp; Pune</a:t>
            </a:r>
          </a:p>
        </p:txBody>
      </p:sp>
    </p:spTree>
    <p:extLst>
      <p:ext uri="{BB962C8B-B14F-4D97-AF65-F5344CB8AC3E}">
        <p14:creationId xmlns:p14="http://schemas.microsoft.com/office/powerpoint/2010/main" val="1627639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ve articulation </a:t>
            </a:r>
            <a:r>
              <a:rPr lang="en-US" dirty="0"/>
              <a:t>ski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03797"/>
            <a:ext cx="8291692" cy="4734719"/>
          </a:xfrm>
        </p:spPr>
        <p:txBody>
          <a:bodyPr/>
          <a:lstStyle/>
          <a:p>
            <a:r>
              <a:rPr lang="en-US" dirty="0"/>
              <a:t>Trainees should give presentation in the  end of the Module for selected topics( especially </a:t>
            </a:r>
            <a:r>
              <a:rPr lang="en-US" dirty="0" smtClean="0"/>
              <a:t>the participants with poor articulation skills)</a:t>
            </a:r>
            <a:endParaRPr lang="en-US" dirty="0"/>
          </a:p>
          <a:p>
            <a:r>
              <a:rPr lang="en-US" dirty="0"/>
              <a:t>Implement mini project in core java </a:t>
            </a:r>
            <a:endParaRPr lang="en-US" dirty="0" smtClean="0"/>
          </a:p>
          <a:p>
            <a:pPr lvl="1"/>
            <a:r>
              <a:rPr lang="en-US" dirty="0" smtClean="0"/>
              <a:t>Implemented in June Mumbai April batch</a:t>
            </a:r>
            <a:endParaRPr lang="en-US" dirty="0"/>
          </a:p>
          <a:p>
            <a:r>
              <a:rPr lang="en-US" dirty="0"/>
              <a:t>Viva for selected participants during the Mini project / PLP by LOT </a:t>
            </a:r>
            <a:r>
              <a:rPr lang="en-US" dirty="0" smtClean="0"/>
              <a:t>lead/Batch mentors/Respective BU</a:t>
            </a:r>
          </a:p>
          <a:p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ilot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tches- Regular June Batches at Bangalore, Mumbai &amp; Pun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723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w more ideas proposed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03797"/>
            <a:ext cx="8291692" cy="4734719"/>
          </a:xfrm>
        </p:spPr>
        <p:txBody>
          <a:bodyPr/>
          <a:lstStyle/>
          <a:p>
            <a:r>
              <a:rPr lang="en-US" dirty="0" smtClean="0"/>
              <a:t>Increase the weightage of core module in L1</a:t>
            </a:r>
          </a:p>
          <a:p>
            <a:r>
              <a:rPr lang="en-US" dirty="0" smtClean="0"/>
              <a:t>Include the viva parameter in PLP &amp; </a:t>
            </a:r>
            <a:r>
              <a:rPr lang="en-US" dirty="0" err="1" smtClean="0"/>
              <a:t>Miniproject</a:t>
            </a:r>
            <a:r>
              <a:rPr lang="en-US" dirty="0" smtClean="0"/>
              <a:t>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49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DDA08114CFC342B437F87C450600C3" ma:contentTypeVersion="0" ma:contentTypeDescription="Create a new document." ma:contentTypeScope="" ma:versionID="4700b4d881f2830232ede50708e3541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7daa8068ee9eb49ca321f78f6dfb73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96D572-14C3-48AF-9082-CA3678C5C3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2B06B9E-1DBD-4889-8ABC-29CBCD8782F7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4EA51A77-1AE3-4119-B5D6-00742F26E65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87</TotalTime>
  <Words>169</Words>
  <Application>Microsoft Office PowerPoint</Application>
  <PresentationFormat>On-screen Show (4:3)</PresentationFormat>
  <Paragraphs>31</Paragraphs>
  <Slides>5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Corporate Presentation Template (4x3 - Normal)</vt:lpstr>
      <vt:lpstr>think-cell Slide</vt:lpstr>
      <vt:lpstr>Ideas to address the quality concerns</vt:lpstr>
      <vt:lpstr> Self-Learning  </vt:lpstr>
      <vt:lpstr> Knowledge Retention  </vt:lpstr>
      <vt:lpstr>Improve articulation skills</vt:lpstr>
      <vt:lpstr>Few more ideas proposed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rge Program Management  Managing Large  Transformational Deals</dc:title>
  <dc:creator>rakhee.harlalka@igate.com</dc:creator>
  <cp:lastModifiedBy>Srivastava, Vaishali</cp:lastModifiedBy>
  <cp:revision>1677</cp:revision>
  <dcterms:created xsi:type="dcterms:W3CDTF">2010-04-21T14:19:26Z</dcterms:created>
  <dcterms:modified xsi:type="dcterms:W3CDTF">2017-08-02T08:1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DDA08114CFC342B437F87C450600C3</vt:lpwstr>
  </property>
</Properties>
</file>